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7"/>
  </p:notesMasterIdLst>
  <p:handoutMasterIdLst>
    <p:handoutMasterId r:id="rId8"/>
  </p:handoutMasterIdLst>
  <p:sldIdLst>
    <p:sldId id="347" r:id="rId2"/>
    <p:sldId id="343" r:id="rId3"/>
    <p:sldId id="344" r:id="rId4"/>
    <p:sldId id="345" r:id="rId5"/>
    <p:sldId id="346" r:id="rId6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47"/>
            <p14:sldId id="343"/>
            <p14:sldId id="344"/>
            <p14:sldId id="345"/>
            <p14:sldId id="34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80" d="100"/>
          <a:sy n="80" d="100"/>
        </p:scale>
        <p:origin x="-1421" y="-542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24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26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1949ABB-D8FF-42F8-A44A-852B2FEEDE7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A124F11-1613-4B3E-8F65-1A4F3B28DBA1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5DB0AA1-57BB-4AD6-BC2D-EC8D88BA9B2E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3D8A98E-26F6-417F-AA76-C6F2703DD16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9331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8205A7E-85E7-43D8-8B18-BD92084A25F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3FB7194-C229-498A-8A56-E2D45B6B9C0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4F8A815-73BF-4CC4-BB85-C34329ECE4C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C55CF16-FF7E-469E-AE77-1068B911DA5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54014E2-BCA8-4EA3-9702-03AEA13D504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63D0A75-C406-43C6-8957-1689ED192F1B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6919C5A-E912-44B8-8BFB-7F95C87B867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7398727-1A9F-4E56-9DAE-7C7E01A5380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20214F1-8869-43FC-B213-018D1128A37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5785066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8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9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1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37CC893-0DBA-4D8C-AF6D-D14C25A2701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92425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Customizing der Produktdefinitionsperspektiv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76772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it Kategorien können </a:t>
            </a:r>
            <a:r>
              <a:rPr lang="de-DE" i="1" dirty="0"/>
              <a:t>Attribute, Wertebereiche, Berechnungsvorschriften, Tabellenreferenzen Regeln</a:t>
            </a:r>
            <a:r>
              <a:rPr lang="de-DE" dirty="0"/>
              <a:t>, die einen fachlichen Zusammenhang haben, auf dem Produktbausteineditor in einer Sektion mit einer Überschrift dargestellt werden. 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 gibt es pro Produktbaustein-Typ. Sie können im Produktbaustein-Typ Editor unter dem Reiter „Kategorien“ bearbeitet werden.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con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jeden Produktbaustein-Typ kann ein spezielles Icon im Produktbaustein-Typ Editor angegeben werden. Das Icon erscheint in allen Ansichten in der der Produktbaustein-Typ dargestellt wird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E427E9-279E-4D66-9FCC-417B3798D50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50159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Customizing der Produktdefinitionsperspektive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412776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viele Modellelemente z.B. Attribute, Assoziationen, Modelltypen, … können Labels hinterlegt werden. Labels werden anstatt der Modellnahmen in den Ansichten und Editoren der Produktdefinitionsperspektive angezeigt.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 haben 2 Aufgaben</a:t>
            </a:r>
          </a:p>
          <a:p>
            <a:pPr marL="1107120" lvl="2" indent="-285750">
              <a:buSzPct val="70000"/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 ansprechende Beschreibung z.B. anstatt „</a:t>
            </a:r>
            <a:r>
              <a:rPr lang="de-DE" dirty="0" err="1"/>
              <a:t>versSumme</a:t>
            </a:r>
            <a:r>
              <a:rPr lang="de-DE" dirty="0"/>
              <a:t>“ wird „Versicherungssumme“ angezeigt</a:t>
            </a:r>
          </a:p>
          <a:p>
            <a:pPr marL="1107120" lvl="2" indent="-285750">
              <a:buSzPct val="70000"/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terstützung von Internationalisierung. Labels können in beliebigen Sprachen angelegt werden und entsprechend der Landeseinstellung wird der Label in den Ansichten und Editoren angezeigt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F18FB3D-EBF5-4FF0-84E4-5AD0C494A65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721619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 zu Customizing der Produktdefinitionsperspektive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412776"/>
            <a:ext cx="7280275" cy="4244975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der Kategorien </a:t>
            </a:r>
            <a:r>
              <a:rPr lang="de-DE" dirty="0" err="1"/>
              <a:t>Beitragsberechung</a:t>
            </a:r>
            <a:r>
              <a:rPr lang="de-DE" dirty="0"/>
              <a:t> in den </a:t>
            </a:r>
            <a:r>
              <a:rPr lang="de-DE" dirty="0" err="1"/>
              <a:t>Deckungenstypen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schieben der Tabellen und Formeln in diese Kategorie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con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von Icons für die Produktbaustein-Typ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von Labels für Versicherungssumme, Maximale Versicherungssumme und den Versicherungssummenfaktor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EC89645-D6BD-43D2-9AEE-43F0D86310D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35413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en zu Customizing der Produktdefinitionsperspektiv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500FF1-761B-433E-876A-E87CE6D27A1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06936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2</Words>
  <Application>Microsoft Office PowerPoint</Application>
  <PresentationFormat>Bildschirmpräsentation (4:3)</PresentationFormat>
  <Paragraphs>43</Paragraphs>
  <Slides>5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Master - ConVista General </vt:lpstr>
      <vt:lpstr>Inhalt - Modellierung &amp; Produktdefinition</vt:lpstr>
      <vt:lpstr>Customizing der Produktdefinitionsperspektive</vt:lpstr>
      <vt:lpstr>Customizing der Produktdefinitionsperspektive</vt:lpstr>
      <vt:lpstr>Demo zu Customizing der Produktdefinitionsperspektive</vt:lpstr>
      <vt:lpstr>Übungen zu Customizing der Produktdefinitionsperspektive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89</cp:revision>
  <cp:lastPrinted>2012-07-27T08:00:17Z</cp:lastPrinted>
  <dcterms:created xsi:type="dcterms:W3CDTF">2005-03-22T09:36:15Z</dcterms:created>
  <dcterms:modified xsi:type="dcterms:W3CDTF">2012-11-15T17:40:29Z</dcterms:modified>
  <cp:category>Master</cp:category>
  <cp:contentStatus>RELEASED</cp:contentStatus>
</cp:coreProperties>
</file>